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76"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B6A9D13-5511-4E48-8A3F-25705C20B1F9}" v="54" dt="2023-02-28T01:01:34.44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01" d="100"/>
          <a:sy n="101" d="100"/>
        </p:scale>
        <p:origin x="144" y="828"/>
      </p:cViewPr>
      <p:guideLst>
        <p:guide orient="horz" pos="648"/>
        <p:guide pos="3576"/>
        <p:guide pos="7584"/>
        <p:guide orient="horz" pos="4032"/>
        <p:guide pos="96"/>
        <p:guide pos="2856"/>
        <p:guide pos="576"/>
        <p:guide orient="horz" pos="3840"/>
        <p:guide orient="horz" pos="816"/>
        <p:guide orient="horz" pos="1032"/>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AB6A9D13-5511-4E48-8A3F-25705C20B1F9}"/>
    <pc:docChg chg="undo custSel addSld delSld modSld">
      <pc:chgData name="Roberto Gallardo" userId="49a044883f185952" providerId="LiveId" clId="{AB6A9D13-5511-4E48-8A3F-25705C20B1F9}" dt="2023-02-28T01:01:46.670" v="221" actId="1076"/>
      <pc:docMkLst>
        <pc:docMk/>
      </pc:docMkLst>
      <pc:sldChg chg="del">
        <pc:chgData name="Roberto Gallardo" userId="49a044883f185952" providerId="LiveId" clId="{AB6A9D13-5511-4E48-8A3F-25705C20B1F9}" dt="2023-02-25T14:40:56.465" v="4" actId="47"/>
        <pc:sldMkLst>
          <pc:docMk/>
          <pc:sldMk cId="1175010214" sldId="261"/>
        </pc:sldMkLst>
      </pc:sldChg>
      <pc:sldChg chg="addSp modSp mod">
        <pc:chgData name="Roberto Gallardo" userId="49a044883f185952" providerId="LiveId" clId="{AB6A9D13-5511-4E48-8A3F-25705C20B1F9}" dt="2023-02-28T00:55:06.244" v="14" actId="1036"/>
        <pc:sldMkLst>
          <pc:docMk/>
          <pc:sldMk cId="1418533539" sldId="271"/>
        </pc:sldMkLst>
        <pc:picChg chg="add mod">
          <ac:chgData name="Roberto Gallardo" userId="49a044883f185952" providerId="LiveId" clId="{AB6A9D13-5511-4E48-8A3F-25705C20B1F9}" dt="2023-02-28T00:55:06.244" v="14" actId="1036"/>
          <ac:picMkLst>
            <pc:docMk/>
            <pc:sldMk cId="1418533539" sldId="271"/>
            <ac:picMk id="6" creationId="{4BC49D8E-66F5-5C00-F460-46B1E3F53C21}"/>
          </ac:picMkLst>
        </pc:picChg>
      </pc:sldChg>
      <pc:sldChg chg="addSp modSp mod">
        <pc:chgData name="Roberto Gallardo" userId="49a044883f185952" providerId="LiveId" clId="{AB6A9D13-5511-4E48-8A3F-25705C20B1F9}" dt="2023-02-28T00:57:35.195" v="77" actId="1076"/>
        <pc:sldMkLst>
          <pc:docMk/>
          <pc:sldMk cId="2124848710" sldId="281"/>
        </pc:sldMkLst>
        <pc:picChg chg="add mod">
          <ac:chgData name="Roberto Gallardo" userId="49a044883f185952" providerId="LiveId" clId="{AB6A9D13-5511-4E48-8A3F-25705C20B1F9}" dt="2023-02-28T00:57:35.195" v="77" actId="1076"/>
          <ac:picMkLst>
            <pc:docMk/>
            <pc:sldMk cId="2124848710" sldId="281"/>
            <ac:picMk id="6" creationId="{EF6E2C92-9393-C5E5-C6C1-4C91FCB8667E}"/>
          </ac:picMkLst>
        </pc:picChg>
      </pc:sldChg>
      <pc:sldChg chg="addSp modSp mod">
        <pc:chgData name="Roberto Gallardo" userId="49a044883f185952" providerId="LiveId" clId="{AB6A9D13-5511-4E48-8A3F-25705C20B1F9}" dt="2023-02-28T00:57:58.855" v="91" actId="1076"/>
        <pc:sldMkLst>
          <pc:docMk/>
          <pc:sldMk cId="2028175529" sldId="282"/>
        </pc:sldMkLst>
        <pc:picChg chg="add mod">
          <ac:chgData name="Roberto Gallardo" userId="49a044883f185952" providerId="LiveId" clId="{AB6A9D13-5511-4E48-8A3F-25705C20B1F9}" dt="2023-02-28T00:57:58.855" v="91" actId="1076"/>
          <ac:picMkLst>
            <pc:docMk/>
            <pc:sldMk cId="2028175529" sldId="282"/>
            <ac:picMk id="7" creationId="{A05107F0-0CED-F564-F7F4-5817557AA25C}"/>
          </ac:picMkLst>
        </pc:picChg>
      </pc:sldChg>
      <pc:sldChg chg="addSp modSp mod">
        <pc:chgData name="Roberto Gallardo" userId="49a044883f185952" providerId="LiveId" clId="{AB6A9D13-5511-4E48-8A3F-25705C20B1F9}" dt="2023-02-28T00:58:24.264" v="105" actId="1076"/>
        <pc:sldMkLst>
          <pc:docMk/>
          <pc:sldMk cId="1326517747" sldId="283"/>
        </pc:sldMkLst>
        <pc:picChg chg="add mod">
          <ac:chgData name="Roberto Gallardo" userId="49a044883f185952" providerId="LiveId" clId="{AB6A9D13-5511-4E48-8A3F-25705C20B1F9}" dt="2023-02-28T00:58:24.264" v="105" actId="1076"/>
          <ac:picMkLst>
            <pc:docMk/>
            <pc:sldMk cId="1326517747" sldId="283"/>
            <ac:picMk id="7" creationId="{5A880922-E9BC-550B-0AC8-FBF269F584A7}"/>
          </ac:picMkLst>
        </pc:picChg>
      </pc:sldChg>
      <pc:sldChg chg="addSp modSp mod">
        <pc:chgData name="Roberto Gallardo" userId="49a044883f185952" providerId="LiveId" clId="{AB6A9D13-5511-4E48-8A3F-25705C20B1F9}" dt="2023-02-28T00:58:42.758" v="117" actId="1076"/>
        <pc:sldMkLst>
          <pc:docMk/>
          <pc:sldMk cId="783739251" sldId="284"/>
        </pc:sldMkLst>
        <pc:picChg chg="add mod">
          <ac:chgData name="Roberto Gallardo" userId="49a044883f185952" providerId="LiveId" clId="{AB6A9D13-5511-4E48-8A3F-25705C20B1F9}" dt="2023-02-28T00:58:42.758" v="117" actId="1076"/>
          <ac:picMkLst>
            <pc:docMk/>
            <pc:sldMk cId="783739251" sldId="284"/>
            <ac:picMk id="7" creationId="{96343A24-0DF0-962F-F12E-2067C395177F}"/>
          </ac:picMkLst>
        </pc:picChg>
      </pc:sldChg>
      <pc:sldChg chg="addSp modSp mod">
        <pc:chgData name="Roberto Gallardo" userId="49a044883f185952" providerId="LiveId" clId="{AB6A9D13-5511-4E48-8A3F-25705C20B1F9}" dt="2023-02-28T00:58:57.496" v="126" actId="1076"/>
        <pc:sldMkLst>
          <pc:docMk/>
          <pc:sldMk cId="1676122233" sldId="285"/>
        </pc:sldMkLst>
        <pc:picChg chg="add mod">
          <ac:chgData name="Roberto Gallardo" userId="49a044883f185952" providerId="LiveId" clId="{AB6A9D13-5511-4E48-8A3F-25705C20B1F9}" dt="2023-02-28T00:58:57.496" v="126" actId="1076"/>
          <ac:picMkLst>
            <pc:docMk/>
            <pc:sldMk cId="1676122233" sldId="285"/>
            <ac:picMk id="7" creationId="{5FD4A831-C1EC-C39E-DB1A-EC4C23686AF5}"/>
          </ac:picMkLst>
        </pc:picChg>
      </pc:sldChg>
      <pc:sldChg chg="addSp modSp mod">
        <pc:chgData name="Roberto Gallardo" userId="49a044883f185952" providerId="LiveId" clId="{AB6A9D13-5511-4E48-8A3F-25705C20B1F9}" dt="2023-02-28T00:59:13.427" v="136" actId="1076"/>
        <pc:sldMkLst>
          <pc:docMk/>
          <pc:sldMk cId="3100398757" sldId="286"/>
        </pc:sldMkLst>
        <pc:picChg chg="add mod">
          <ac:chgData name="Roberto Gallardo" userId="49a044883f185952" providerId="LiveId" clId="{AB6A9D13-5511-4E48-8A3F-25705C20B1F9}" dt="2023-02-28T00:59:13.427" v="136" actId="1076"/>
          <ac:picMkLst>
            <pc:docMk/>
            <pc:sldMk cId="3100398757" sldId="286"/>
            <ac:picMk id="7" creationId="{56078D0F-2C39-D4F8-A2FF-01CC647B938C}"/>
          </ac:picMkLst>
        </pc:picChg>
      </pc:sldChg>
      <pc:sldChg chg="addSp modSp mod">
        <pc:chgData name="Roberto Gallardo" userId="49a044883f185952" providerId="LiveId" clId="{AB6A9D13-5511-4E48-8A3F-25705C20B1F9}" dt="2023-02-28T00:59:33.292" v="149" actId="1076"/>
        <pc:sldMkLst>
          <pc:docMk/>
          <pc:sldMk cId="1546475425" sldId="287"/>
        </pc:sldMkLst>
        <pc:picChg chg="add mod">
          <ac:chgData name="Roberto Gallardo" userId="49a044883f185952" providerId="LiveId" clId="{AB6A9D13-5511-4E48-8A3F-25705C20B1F9}" dt="2023-02-28T00:59:33.292" v="149" actId="1076"/>
          <ac:picMkLst>
            <pc:docMk/>
            <pc:sldMk cId="1546475425" sldId="287"/>
            <ac:picMk id="7" creationId="{CC3233C9-DF89-4F7B-495B-0E088C94799C}"/>
          </ac:picMkLst>
        </pc:picChg>
      </pc:sldChg>
      <pc:sldChg chg="addSp modSp mod">
        <pc:chgData name="Roberto Gallardo" userId="49a044883f185952" providerId="LiveId" clId="{AB6A9D13-5511-4E48-8A3F-25705C20B1F9}" dt="2023-02-28T01:00:12.955" v="172" actId="1076"/>
        <pc:sldMkLst>
          <pc:docMk/>
          <pc:sldMk cId="1380517306" sldId="288"/>
        </pc:sldMkLst>
        <pc:picChg chg="add mod">
          <ac:chgData name="Roberto Gallardo" userId="49a044883f185952" providerId="LiveId" clId="{AB6A9D13-5511-4E48-8A3F-25705C20B1F9}" dt="2023-02-28T01:00:12.955" v="172" actId="1076"/>
          <ac:picMkLst>
            <pc:docMk/>
            <pc:sldMk cId="1380517306" sldId="288"/>
            <ac:picMk id="7" creationId="{F853C7DF-1FBF-5767-5F51-73016E5DD117}"/>
          </ac:picMkLst>
        </pc:picChg>
      </pc:sldChg>
      <pc:sldChg chg="addSp modSp mod">
        <pc:chgData name="Roberto Gallardo" userId="49a044883f185952" providerId="LiveId" clId="{AB6A9D13-5511-4E48-8A3F-25705C20B1F9}" dt="2023-02-28T01:00:42.463" v="186" actId="1076"/>
        <pc:sldMkLst>
          <pc:docMk/>
          <pc:sldMk cId="1388671151" sldId="289"/>
        </pc:sldMkLst>
        <pc:picChg chg="add mod">
          <ac:chgData name="Roberto Gallardo" userId="49a044883f185952" providerId="LiveId" clId="{AB6A9D13-5511-4E48-8A3F-25705C20B1F9}" dt="2023-02-28T01:00:42.463" v="186" actId="1076"/>
          <ac:picMkLst>
            <pc:docMk/>
            <pc:sldMk cId="1388671151" sldId="289"/>
            <ac:picMk id="7" creationId="{870B3C21-A4B0-5059-45FF-043ECADBB840}"/>
          </ac:picMkLst>
        </pc:picChg>
      </pc:sldChg>
      <pc:sldChg chg="addSp modSp mod">
        <pc:chgData name="Roberto Gallardo" userId="49a044883f185952" providerId="LiveId" clId="{AB6A9D13-5511-4E48-8A3F-25705C20B1F9}" dt="2023-02-28T01:01:26.879" v="210" actId="1076"/>
        <pc:sldMkLst>
          <pc:docMk/>
          <pc:sldMk cId="2355376039" sldId="290"/>
        </pc:sldMkLst>
        <pc:picChg chg="add mod">
          <ac:chgData name="Roberto Gallardo" userId="49a044883f185952" providerId="LiveId" clId="{AB6A9D13-5511-4E48-8A3F-25705C20B1F9}" dt="2023-02-28T01:01:26.879" v="210" actId="1076"/>
          <ac:picMkLst>
            <pc:docMk/>
            <pc:sldMk cId="2355376039" sldId="290"/>
            <ac:picMk id="8" creationId="{A059178F-02FA-62FF-497D-F371BCFD1700}"/>
          </ac:picMkLst>
        </pc:picChg>
      </pc:sldChg>
      <pc:sldChg chg="addSp modSp mod">
        <pc:chgData name="Roberto Gallardo" userId="49a044883f185952" providerId="LiveId" clId="{AB6A9D13-5511-4E48-8A3F-25705C20B1F9}" dt="2023-02-28T01:01:46.670" v="221" actId="1076"/>
        <pc:sldMkLst>
          <pc:docMk/>
          <pc:sldMk cId="3757257295" sldId="291"/>
        </pc:sldMkLst>
        <pc:picChg chg="add mod">
          <ac:chgData name="Roberto Gallardo" userId="49a044883f185952" providerId="LiveId" clId="{AB6A9D13-5511-4E48-8A3F-25705C20B1F9}" dt="2023-02-28T01:01:46.670" v="221" actId="1076"/>
          <ac:picMkLst>
            <pc:docMk/>
            <pc:sldMk cId="3757257295" sldId="291"/>
            <ac:picMk id="8" creationId="{01B0CA20-68B9-D18D-E7CD-F6BF2D88EA68}"/>
          </ac:picMkLst>
        </pc:picChg>
      </pc:sldChg>
      <pc:sldChg chg="addSp modSp mod">
        <pc:chgData name="Roberto Gallardo" userId="49a044883f185952" providerId="LiveId" clId="{AB6A9D13-5511-4E48-8A3F-25705C20B1F9}" dt="2023-02-28T00:59:54.419" v="162" actId="1076"/>
        <pc:sldMkLst>
          <pc:docMk/>
          <pc:sldMk cId="1259856727" sldId="292"/>
        </pc:sldMkLst>
        <pc:picChg chg="add mod">
          <ac:chgData name="Roberto Gallardo" userId="49a044883f185952" providerId="LiveId" clId="{AB6A9D13-5511-4E48-8A3F-25705C20B1F9}" dt="2023-02-28T00:59:54.419" v="162" actId="1076"/>
          <ac:picMkLst>
            <pc:docMk/>
            <pc:sldMk cId="1259856727" sldId="292"/>
            <ac:picMk id="7" creationId="{6BB1B8D5-8DE7-0471-A57E-AAD486BEBBC0}"/>
          </ac:picMkLst>
        </pc:picChg>
      </pc:sldChg>
      <pc:sldChg chg="addSp modSp mod">
        <pc:chgData name="Roberto Gallardo" userId="49a044883f185952" providerId="LiveId" clId="{AB6A9D13-5511-4E48-8A3F-25705C20B1F9}" dt="2023-02-28T00:57:19.006" v="67" actId="1076"/>
        <pc:sldMkLst>
          <pc:docMk/>
          <pc:sldMk cId="3324519687" sldId="293"/>
        </pc:sldMkLst>
        <pc:picChg chg="add mod">
          <ac:chgData name="Roberto Gallardo" userId="49a044883f185952" providerId="LiveId" clId="{AB6A9D13-5511-4E48-8A3F-25705C20B1F9}" dt="2023-02-28T00:57:19.006" v="67" actId="1076"/>
          <ac:picMkLst>
            <pc:docMk/>
            <pc:sldMk cId="3324519687" sldId="293"/>
            <ac:picMk id="7" creationId="{68AB1478-2BF0-65F4-EB28-EB195CEA14C3}"/>
          </ac:picMkLst>
        </pc:picChg>
      </pc:sldChg>
      <pc:sldChg chg="addSp modSp mod">
        <pc:chgData name="Roberto Gallardo" userId="49a044883f185952" providerId="LiveId" clId="{AB6A9D13-5511-4E48-8A3F-25705C20B1F9}" dt="2023-02-28T00:56:19.883" v="45" actId="1076"/>
        <pc:sldMkLst>
          <pc:docMk/>
          <pc:sldMk cId="3256182630" sldId="295"/>
        </pc:sldMkLst>
        <pc:picChg chg="add mod">
          <ac:chgData name="Roberto Gallardo" userId="49a044883f185952" providerId="LiveId" clId="{AB6A9D13-5511-4E48-8A3F-25705C20B1F9}" dt="2023-02-28T00:56:19.883" v="45" actId="1076"/>
          <ac:picMkLst>
            <pc:docMk/>
            <pc:sldMk cId="3256182630" sldId="295"/>
            <ac:picMk id="7" creationId="{57A8D86E-C608-11A7-3690-FA804FED5DB7}"/>
          </ac:picMkLst>
        </pc:picChg>
      </pc:sldChg>
      <pc:sldChg chg="addSp modSp mod">
        <pc:chgData name="Roberto Gallardo" userId="49a044883f185952" providerId="LiveId" clId="{AB6A9D13-5511-4E48-8A3F-25705C20B1F9}" dt="2023-02-28T00:57:01.411" v="58" actId="1076"/>
        <pc:sldMkLst>
          <pc:docMk/>
          <pc:sldMk cId="4057156843" sldId="296"/>
        </pc:sldMkLst>
        <pc:picChg chg="add mod">
          <ac:chgData name="Roberto Gallardo" userId="49a044883f185952" providerId="LiveId" clId="{AB6A9D13-5511-4E48-8A3F-25705C20B1F9}" dt="2023-02-28T00:57:01.411" v="58" actId="1076"/>
          <ac:picMkLst>
            <pc:docMk/>
            <pc:sldMk cId="4057156843" sldId="296"/>
            <ac:picMk id="7" creationId="{E8EB2B94-BBD7-1D2F-34A0-133972CFA1A3}"/>
          </ac:picMkLst>
        </pc:picChg>
      </pc:sldChg>
      <pc:sldChg chg="addSp modSp mod">
        <pc:chgData name="Roberto Gallardo" userId="49a044883f185952" providerId="LiveId" clId="{AB6A9D13-5511-4E48-8A3F-25705C20B1F9}" dt="2023-02-28T00:55:42.911" v="31" actId="1076"/>
        <pc:sldMkLst>
          <pc:docMk/>
          <pc:sldMk cId="2080110827" sldId="297"/>
        </pc:sldMkLst>
        <pc:picChg chg="add mod">
          <ac:chgData name="Roberto Gallardo" userId="49a044883f185952" providerId="LiveId" clId="{AB6A9D13-5511-4E48-8A3F-25705C20B1F9}" dt="2023-02-28T00:55:42.911" v="31" actId="1076"/>
          <ac:picMkLst>
            <pc:docMk/>
            <pc:sldMk cId="2080110827" sldId="297"/>
            <ac:picMk id="6" creationId="{D434F1DE-57CC-9B88-3A82-02D26ABB412F}"/>
          </ac:picMkLst>
        </pc:picChg>
      </pc:sldChg>
      <pc:sldChg chg="addSp modSp mod">
        <pc:chgData name="Roberto Gallardo" userId="49a044883f185952" providerId="LiveId" clId="{AB6A9D13-5511-4E48-8A3F-25705C20B1F9}" dt="2023-02-28T00:55:24.247" v="22" actId="1076"/>
        <pc:sldMkLst>
          <pc:docMk/>
          <pc:sldMk cId="1532666867" sldId="298"/>
        </pc:sldMkLst>
        <pc:picChg chg="add mod">
          <ac:chgData name="Roberto Gallardo" userId="49a044883f185952" providerId="LiveId" clId="{AB6A9D13-5511-4E48-8A3F-25705C20B1F9}" dt="2023-02-28T00:55:24.247" v="22" actId="1076"/>
          <ac:picMkLst>
            <pc:docMk/>
            <pc:sldMk cId="1532666867" sldId="298"/>
            <ac:picMk id="6" creationId="{EFD40E58-FF3F-FA13-829F-C86837707345}"/>
          </ac:picMkLst>
        </pc:picChg>
      </pc:sldChg>
      <pc:sldChg chg="addSp modSp mod">
        <pc:chgData name="Roberto Gallardo" userId="49a044883f185952" providerId="LiveId" clId="{AB6A9D13-5511-4E48-8A3F-25705C20B1F9}" dt="2023-02-28T01:01:03.958" v="198" actId="1076"/>
        <pc:sldMkLst>
          <pc:docMk/>
          <pc:sldMk cId="1951376777" sldId="299"/>
        </pc:sldMkLst>
        <pc:picChg chg="add mod">
          <ac:chgData name="Roberto Gallardo" userId="49a044883f185952" providerId="LiveId" clId="{AB6A9D13-5511-4E48-8A3F-25705C20B1F9}" dt="2023-02-28T01:01:03.958" v="198" actId="1076"/>
          <ac:picMkLst>
            <pc:docMk/>
            <pc:sldMk cId="1951376777" sldId="299"/>
            <ac:picMk id="7" creationId="{0A23CD0B-38B8-47B6-92C8-A414F65E752E}"/>
          </ac:picMkLst>
        </pc:picChg>
      </pc:sldChg>
      <pc:sldChg chg="modSp mod">
        <pc:chgData name="Roberto Gallardo" userId="49a044883f185952" providerId="LiveId" clId="{AB6A9D13-5511-4E48-8A3F-25705C20B1F9}" dt="2023-02-25T13:19:26.418" v="2" actId="20577"/>
        <pc:sldMkLst>
          <pc:docMk/>
          <pc:sldMk cId="1515423683" sldId="302"/>
        </pc:sldMkLst>
        <pc:spChg chg="mod">
          <ac:chgData name="Roberto Gallardo" userId="49a044883f185952" providerId="LiveId" clId="{AB6A9D13-5511-4E48-8A3F-25705C20B1F9}" dt="2023-02-25T13:19:26.418" v="2" actId="20577"/>
          <ac:spMkLst>
            <pc:docMk/>
            <pc:sldMk cId="1515423683" sldId="302"/>
            <ac:spMk id="5" creationId="{6AE302AC-8931-4144-BE52-DD1A8BA82462}"/>
          </ac:spMkLst>
        </pc:spChg>
        <pc:spChg chg="mod">
          <ac:chgData name="Roberto Gallardo" userId="49a044883f185952" providerId="LiveId" clId="{AB6A9D13-5511-4E48-8A3F-25705C20B1F9}" dt="2023-02-25T13:19:23.303" v="1" actId="20577"/>
          <ac:spMkLst>
            <pc:docMk/>
            <pc:sldMk cId="1515423683" sldId="302"/>
            <ac:spMk id="9" creationId="{E362A98F-7DCD-C67C-23CE-1BE182A133B4}"/>
          </ac:spMkLst>
        </pc:spChg>
      </pc:sldChg>
      <pc:sldChg chg="del">
        <pc:chgData name="Roberto Gallardo" userId="49a044883f185952" providerId="LiveId" clId="{AB6A9D13-5511-4E48-8A3F-25705C20B1F9}" dt="2023-02-25T14:40:56.465" v="4" actId="47"/>
        <pc:sldMkLst>
          <pc:docMk/>
          <pc:sldMk cId="2841628872" sldId="303"/>
        </pc:sldMkLst>
      </pc:sldChg>
      <pc:sldChg chg="del">
        <pc:chgData name="Roberto Gallardo" userId="49a044883f185952" providerId="LiveId" clId="{AB6A9D13-5511-4E48-8A3F-25705C20B1F9}" dt="2023-02-25T14:40:56.465" v="4" actId="47"/>
        <pc:sldMkLst>
          <pc:docMk/>
          <pc:sldMk cId="3084076302" sldId="304"/>
        </pc:sldMkLst>
      </pc:sldChg>
      <pc:sldChg chg="del">
        <pc:chgData name="Roberto Gallardo" userId="49a044883f185952" providerId="LiveId" clId="{AB6A9D13-5511-4E48-8A3F-25705C20B1F9}" dt="2023-02-25T14:40:56.465" v="4" actId="47"/>
        <pc:sldMkLst>
          <pc:docMk/>
          <pc:sldMk cId="473712435" sldId="305"/>
        </pc:sldMkLst>
      </pc:sldChg>
      <pc:sldChg chg="add">
        <pc:chgData name="Roberto Gallardo" userId="49a044883f185952" providerId="LiveId" clId="{AB6A9D13-5511-4E48-8A3F-25705C20B1F9}" dt="2023-02-25T14:40:52.563" v="3"/>
        <pc:sldMkLst>
          <pc:docMk/>
          <pc:sldMk cId="887543996" sldId="307"/>
        </pc:sldMkLst>
      </pc:sldChg>
      <pc:sldChg chg="add">
        <pc:chgData name="Roberto Gallardo" userId="49a044883f185952" providerId="LiveId" clId="{AB6A9D13-5511-4E48-8A3F-25705C20B1F9}" dt="2023-02-25T14:40:52.563" v="3"/>
        <pc:sldMkLst>
          <pc:docMk/>
          <pc:sldMk cId="3895673688" sldId="308"/>
        </pc:sldMkLst>
      </pc:sldChg>
      <pc:sldChg chg="add">
        <pc:chgData name="Roberto Gallardo" userId="49a044883f185952" providerId="LiveId" clId="{AB6A9D13-5511-4E48-8A3F-25705C20B1F9}" dt="2023-02-25T14:40:52.563" v="3"/>
        <pc:sldMkLst>
          <pc:docMk/>
          <pc:sldMk cId="2821348391" sldId="309"/>
        </pc:sldMkLst>
      </pc:sldChg>
      <pc:sldChg chg="add">
        <pc:chgData name="Roberto Gallardo" userId="49a044883f185952" providerId="LiveId" clId="{AB6A9D13-5511-4E48-8A3F-25705C20B1F9}" dt="2023-02-25T14:40:52.563" v="3"/>
        <pc:sldMkLst>
          <pc:docMk/>
          <pc:sldMk cId="1725075916"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2/2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Pasquotank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59FE6C04-7C61-F8AA-B69D-3FD89C0F473B}"/>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28213483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23BFF2C2-F3FF-CDA1-2841-1C43EB37A2D2}"/>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17250759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4BC49D8E-66F5-5C00-F460-46B1E3F53C2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5727" y="1042383"/>
            <a:ext cx="7604345" cy="5377467"/>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EFD40E58-FF3F-FA13-829F-C8683770734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D434F1DE-57CC-9B88-3A82-02D26ABB412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6BAC5669-0E73-4B9C-B0EA-CA825B14801E}"/>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57A8D86E-C608-11A7-3690-FA804FED5DB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80075" y="1428523"/>
            <a:ext cx="6362700" cy="4499429"/>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1A2DA6CC-ADD5-9E67-92CB-24F9D40D025B}"/>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E8EB2B94-BBD7-1D2F-34A0-133972CFA1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5812"/>
            <a:ext cx="6365876" cy="4501675"/>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A580281B-B0BA-39C6-D9E2-CD4CE3F557F2}"/>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Schematic, map&#10;&#10;Description automatically generated">
            <a:extLst>
              <a:ext uri="{FF2B5EF4-FFF2-40B4-BE49-F238E27FC236}">
                <a16:creationId xmlns:a16="http://schemas.microsoft.com/office/drawing/2014/main" id="{68AB1478-2BF0-65F4-EB28-EB195CEA14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2343"/>
            <a:ext cx="6375137" cy="4508224"/>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B084E4B8-5FAE-922F-58B6-D45F3E6364C2}"/>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a:extLst>
              <a:ext uri="{FF2B5EF4-FFF2-40B4-BE49-F238E27FC236}">
                <a16:creationId xmlns:a16="http://schemas.microsoft.com/office/drawing/2014/main" id="{EF6E2C92-9393-C5E5-C6C1-4C91FCB866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6141"/>
            <a:ext cx="6362700" cy="4499429"/>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FFAA1B48-5DAF-80B8-C740-25E003419FF1}"/>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map&#10;&#10;Description automatically generated">
            <a:extLst>
              <a:ext uri="{FF2B5EF4-FFF2-40B4-BE49-F238E27FC236}">
                <a16:creationId xmlns:a16="http://schemas.microsoft.com/office/drawing/2014/main" id="{A05107F0-0CED-F564-F7F4-5817557AA2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899" y="1423533"/>
            <a:ext cx="6362701" cy="4499430"/>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a:t>
            </a:r>
            <a:r>
              <a:rPr lang="en-US" sz="1400"/>
              <a:t>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A88DB235-7DFD-3F46-2FB9-7A9E2F98F792}"/>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5A880922-E9BC-550B-0AC8-FBF269F584A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2874" y="1413678"/>
            <a:ext cx="6366726" cy="4502277"/>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3863D3A6-6D7E-D21A-0701-68CF52620B6B}"/>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96343A24-0DF0-962F-F12E-2067C39517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9388"/>
            <a:ext cx="6362701" cy="4499429"/>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5B4DDD58-9773-035E-37AC-A601B5E06F42}"/>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schematic&#10;&#10;Description automatically generated">
            <a:extLst>
              <a:ext uri="{FF2B5EF4-FFF2-40B4-BE49-F238E27FC236}">
                <a16:creationId xmlns:a16="http://schemas.microsoft.com/office/drawing/2014/main" id="{5FD4A831-C1EC-C39E-DB1A-EC4C23686A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2172"/>
            <a:ext cx="6362700" cy="4499429"/>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078D84EF-726B-582B-E946-D9A5B2A74A10}"/>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10;&#10;Description automatically generated">
            <a:extLst>
              <a:ext uri="{FF2B5EF4-FFF2-40B4-BE49-F238E27FC236}">
                <a16:creationId xmlns:a16="http://schemas.microsoft.com/office/drawing/2014/main" id="{56078D0F-2C39-D4F8-A2FF-01CC647B93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67375" y="1432226"/>
            <a:ext cx="6372225" cy="4506164"/>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DFA9D0A8-7E3F-CFA4-2C59-0B57681BE008}"/>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Schematic, map&#10;&#10;Description automatically generated">
            <a:extLst>
              <a:ext uri="{FF2B5EF4-FFF2-40B4-BE49-F238E27FC236}">
                <a16:creationId xmlns:a16="http://schemas.microsoft.com/office/drawing/2014/main" id="{CC3233C9-DF89-4F7B-495B-0E088C9479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0859"/>
            <a:ext cx="6362699" cy="4499428"/>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6FA0A981-F2F9-5E93-11F5-19F35E521D7D}"/>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6BB1B8D5-8DE7-0471-A57E-AAD486BEBBC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8219" y="1420710"/>
            <a:ext cx="6361381" cy="4498496"/>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A60293F9-F623-3A3F-52A0-D812F9410088}"/>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diagram&#10;&#10;Description automatically generated">
            <a:extLst>
              <a:ext uri="{FF2B5EF4-FFF2-40B4-BE49-F238E27FC236}">
                <a16:creationId xmlns:a16="http://schemas.microsoft.com/office/drawing/2014/main" id="{F853C7DF-1FBF-5767-5F51-73016E5DD1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4873"/>
            <a:ext cx="6362700" cy="4499429"/>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35F21A3E-9736-D03F-4819-35082B91AC78}"/>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with medium confidence">
            <a:extLst>
              <a:ext uri="{FF2B5EF4-FFF2-40B4-BE49-F238E27FC236}">
                <a16:creationId xmlns:a16="http://schemas.microsoft.com/office/drawing/2014/main" id="{870B3C21-A4B0-5059-45FF-043ECADBB8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5878"/>
            <a:ext cx="6362700" cy="4499429"/>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956D3FB9-97DA-AC65-454A-7CFF2DD2A9FA}"/>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Diagram, schematic&#10;&#10;Description automatically generated">
            <a:extLst>
              <a:ext uri="{FF2B5EF4-FFF2-40B4-BE49-F238E27FC236}">
                <a16:creationId xmlns:a16="http://schemas.microsoft.com/office/drawing/2014/main" id="{0A23CD0B-38B8-47B6-92C8-A414F65E75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6935"/>
            <a:ext cx="6362700" cy="4499429"/>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63EB544D-B1F3-CE42-8EC7-B192F1BADCDC}"/>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A059178F-02FA-62FF-497D-F371BCFD17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0618"/>
            <a:ext cx="6362701" cy="4499430"/>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B512AB2A-6032-01B1-4915-B60FD04A7AB3}"/>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22915BD8-FDD7-5DA8-6A0D-61CAB302E0A6}"/>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A picture containing map&#10;&#10;Description automatically generated">
            <a:extLst>
              <a:ext uri="{FF2B5EF4-FFF2-40B4-BE49-F238E27FC236}">
                <a16:creationId xmlns:a16="http://schemas.microsoft.com/office/drawing/2014/main" id="{01B0CA20-68B9-D18D-E7CD-F6BF2D88EA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95329" y="1428749"/>
            <a:ext cx="6344272" cy="4486397"/>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77AF7701-0574-DEA8-2179-6D02BE7717F5}"/>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F956B894-F6C3-A509-9E9E-A3CEAE0E4873}"/>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41853E2-4F1D-DF8F-9CE4-85059DB84780}"/>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32901" y="1691989"/>
            <a:ext cx="1198148" cy="2600577"/>
            <a:chOff x="2775759" y="1891433"/>
            <a:chExt cx="1198148" cy="2600577"/>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609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3374833" y="1891433"/>
              <a:ext cx="0" cy="8039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53528"/>
              <a:ext cx="0" cy="8384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0E243481-3895-8F9B-0452-2542039D8679}"/>
              </a:ext>
            </a:extLst>
          </p:cNvPr>
          <p:cNvGrpSpPr/>
          <p:nvPr/>
        </p:nvGrpSpPr>
        <p:grpSpPr>
          <a:xfrm>
            <a:off x="5147278" y="1991801"/>
            <a:ext cx="1198148" cy="2227585"/>
            <a:chOff x="5385750" y="2201038"/>
            <a:chExt cx="1198148" cy="2227585"/>
          </a:xfrm>
        </p:grpSpPr>
        <p:sp>
          <p:nvSpPr>
            <p:cNvPr id="16" name="TextBox 15">
              <a:extLst>
                <a:ext uri="{FF2B5EF4-FFF2-40B4-BE49-F238E27FC236}">
                  <a16:creationId xmlns:a16="http://schemas.microsoft.com/office/drawing/2014/main" id="{420A225E-A640-906C-A470-552759842A43}"/>
                </a:ext>
              </a:extLst>
            </p:cNvPr>
            <p:cNvSpPr txBox="1"/>
            <p:nvPr/>
          </p:nvSpPr>
          <p:spPr>
            <a:xfrm>
              <a:off x="5385750" y="296489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5834222" y="442862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5831277" y="22010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a:endCxn id="16" idx="0"/>
            </p:cNvCxnSpPr>
            <p:nvPr/>
          </p:nvCxnSpPr>
          <p:spPr>
            <a:xfrm>
              <a:off x="5984824" y="2201038"/>
              <a:ext cx="0" cy="76385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a:stCxn id="16" idx="2"/>
            </p:cNvCxnSpPr>
            <p:nvPr/>
          </p:nvCxnSpPr>
          <p:spPr>
            <a:xfrm>
              <a:off x="5984824" y="3857446"/>
              <a:ext cx="0" cy="56860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2F068F95-0687-AB57-94F9-C55A9D7A2FD0}"/>
              </a:ext>
            </a:extLst>
          </p:cNvPr>
          <p:cNvGrpSpPr/>
          <p:nvPr/>
        </p:nvGrpSpPr>
        <p:grpSpPr>
          <a:xfrm>
            <a:off x="7036024" y="2542482"/>
            <a:ext cx="1198148" cy="2091613"/>
            <a:chOff x="8040444" y="2992125"/>
            <a:chExt cx="1198148" cy="2091613"/>
          </a:xfrm>
        </p:grpSpPr>
        <p:sp>
          <p:nvSpPr>
            <p:cNvPr id="21" name="TextBox 20">
              <a:extLst>
                <a:ext uri="{FF2B5EF4-FFF2-40B4-BE49-F238E27FC236}">
                  <a16:creationId xmlns:a16="http://schemas.microsoft.com/office/drawing/2014/main" id="{9A68ADBE-AECC-EE60-7E94-3675B33E08AE}"/>
                </a:ext>
              </a:extLst>
            </p:cNvPr>
            <p:cNvSpPr txBox="1"/>
            <p:nvPr/>
          </p:nvSpPr>
          <p:spPr>
            <a:xfrm>
              <a:off x="8040444" y="3655863"/>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0</a:t>
              </a:r>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8482681" y="50837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8492549" y="300165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a:endCxn id="21" idx="0"/>
            </p:cNvCxnSpPr>
            <p:nvPr/>
          </p:nvCxnSpPr>
          <p:spPr>
            <a:xfrm>
              <a:off x="8639518" y="2992125"/>
              <a:ext cx="0" cy="66373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a:stCxn id="21" idx="2"/>
            </p:cNvCxnSpPr>
            <p:nvPr/>
          </p:nvCxnSpPr>
          <p:spPr>
            <a:xfrm>
              <a:off x="8639518" y="4548415"/>
              <a:ext cx="0" cy="5286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44700" y="2315651"/>
            <a:ext cx="1198148" cy="2366913"/>
            <a:chOff x="10485745" y="3495762"/>
            <a:chExt cx="1198148" cy="2366913"/>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434140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4.0</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20612" y="586267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23650" y="349576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3495762"/>
              <a:ext cx="0" cy="8456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p:cNvCxnSpPr>
            <p:nvPr/>
          </p:nvCxnSpPr>
          <p:spPr>
            <a:xfrm>
              <a:off x="11073275" y="5199661"/>
              <a:ext cx="0" cy="6630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39291F6C-A621-308B-57C9-4C2BF10F17F7}"/>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63368453-4842-3B3B-E7AF-777986B0DDA8}"/>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82C2C509-916C-99CA-6C17-3253C99BDC24}"/>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5E7206D6-FDA4-DD3D-08BA-B63E044ECA39}"/>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9A960325-F64B-6D42-FEC8-A3E6A11A8549}"/>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43982678-D24B-B4D8-9E02-1FFDDB84E02C}"/>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8491DAFA-198C-C4A8-EBB4-4865759B92C5}"/>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8875439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8FE75FA6-C366-09E5-3EF6-7274E717024D}"/>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8956736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16</TotalTime>
  <Words>1457</Words>
  <Application>Microsoft Office PowerPoint</Application>
  <PresentationFormat>Widescreen</PresentationFormat>
  <Paragraphs>133</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73</cp:revision>
  <dcterms:created xsi:type="dcterms:W3CDTF">2022-07-04T13:32:28Z</dcterms:created>
  <dcterms:modified xsi:type="dcterms:W3CDTF">2023-02-28T01:01:55Z</dcterms:modified>
</cp:coreProperties>
</file>